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 autoCompressPictures="0">
  <p:sldMasterIdLst>
    <p:sldMasterId id="2147483821" r:id="rId4"/>
  </p:sldMasterIdLst>
  <p:notesMasterIdLst>
    <p:notesMasterId r:id="rId6"/>
  </p:notesMasterIdLst>
  <p:sldIdLst>
    <p:sldId id="2372" r:id="rId5"/>
  </p:sldIdLst>
  <p:sldSz cx="9144000" cy="6858000" type="screen4x3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E909"/>
    <a:srgbClr val="FFFFFF"/>
    <a:srgbClr val="F2B8BC"/>
    <a:srgbClr val="828386"/>
    <a:srgbClr val="ACD4F2"/>
    <a:srgbClr val="135487"/>
    <a:srgbClr val="C4D4E1"/>
    <a:srgbClr val="F2F2F2"/>
    <a:srgbClr val="F3F8C6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21C79BB-11C2-41EC-BF7D-9AA4C002B56B}">
  <a:tblStyle styleId="{C21C79BB-11C2-41EC-BF7D-9AA4C002B56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D3CB3323-A3FD-4398-9266-6C6549AE0C56}" styleName="Table_1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96F5FC68-494B-4D2A-8EFA-01831F6BF773}" styleName="Table_2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E6E9ED"/>
          </a:solidFill>
        </a:fill>
      </a:tcStyle>
    </a:wholeTbl>
    <a:band1H>
      <a:tcTxStyle/>
      <a:tcStyle>
        <a:tcBdr/>
        <a:fill>
          <a:solidFill>
            <a:srgbClr val="CACFD9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ACFD9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99" autoAdjust="0"/>
    <p:restoredTop sz="95226" autoAdjust="0"/>
  </p:normalViewPr>
  <p:slideViewPr>
    <p:cSldViewPr snapToGrid="0">
      <p:cViewPr varScale="1">
        <p:scale>
          <a:sx n="124" d="100"/>
          <a:sy n="124" d="100"/>
        </p:scale>
        <p:origin x="1336" y="1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7" y="6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wrap="square" lIns="96960" tIns="96960" rIns="96960" bIns="96960" anchor="t" anchorCtr="0"/>
          <a:lstStyle>
            <a:lvl1pPr marL="0" marR="0" lvl="0" indent="0" algn="l" rtl="0">
              <a:spcBef>
                <a:spcPts val="0"/>
              </a:spcBef>
              <a:buSzPts val="1400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84881" marR="0" lvl="1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69760" marR="0" lvl="2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54641" marR="0" lvl="3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39522" marR="0" lvl="4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424401" marR="0" lvl="5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09282" marR="0" lvl="6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394162" marR="0" lvl="7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79042" marR="0" lvl="8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84618" y="6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wrap="square" lIns="96960" tIns="96960" rIns="96960" bIns="96960" anchor="t" anchorCtr="0"/>
          <a:lstStyle>
            <a:lvl1pPr marL="0" marR="0" lvl="0" indent="0" algn="r" rtl="0">
              <a:spcBef>
                <a:spcPts val="0"/>
              </a:spcBef>
              <a:buSzPts val="1400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84881" marR="0" lvl="1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69760" marR="0" lvl="2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54641" marR="0" lvl="3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39522" marR="0" lvl="4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424401" marR="0" lvl="5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09282" marR="0" lvl="6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394162" marR="0" lvl="7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79042" marR="0" lvl="8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1144588" y="685800"/>
            <a:ext cx="4568825" cy="34274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6960" tIns="96960" rIns="96960" bIns="96960" anchor="t" anchorCtr="0"/>
          <a:lstStyle>
            <a:lvl1pPr marL="0" marR="0" lvl="0" indent="0" algn="l" rtl="0">
              <a:spcBef>
                <a:spcPts val="0"/>
              </a:spcBef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7" y="868521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wrap="square" lIns="96960" tIns="96960" rIns="96960" bIns="96960" anchor="b" anchorCtr="0"/>
          <a:lstStyle>
            <a:lvl1pPr marL="0" marR="0" lvl="0" indent="0" algn="l" rtl="0">
              <a:spcBef>
                <a:spcPts val="0"/>
              </a:spcBef>
              <a:buSzPts val="1400"/>
              <a:buNone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84881" marR="0" lvl="1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69760" marR="0" lvl="2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54641" marR="0" lvl="3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939522" marR="0" lvl="4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424401" marR="0" lvl="5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09282" marR="0" lvl="6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394162" marR="0" lvl="7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79042" marR="0" lvl="8" indent="0" algn="l" rtl="0">
              <a:spcBef>
                <a:spcPts val="0"/>
              </a:spcBef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84618" y="8685218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wrap="square" lIns="86302" tIns="43138" rIns="86302" bIns="43138" anchor="b" anchorCtr="0">
            <a:noAutofit/>
          </a:bodyPr>
          <a:lstStyle/>
          <a:p>
            <a:pPr algn="r"/>
            <a:fld id="{00000000-1234-1234-1234-123412341234}" type="slidenum">
              <a:rPr lang="en-AU" sz="11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‹#›</a:t>
            </a:fld>
            <a:endParaRPr lang="en-AU"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64361675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96319" y="802299"/>
            <a:ext cx="5618515" cy="2541431"/>
          </a:xfrm>
        </p:spPr>
        <p:txBody>
          <a:bodyPr bIns="0" anchor="b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96319" y="3531205"/>
            <a:ext cx="5618515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600" b="0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96319" y="329308"/>
            <a:ext cx="3086292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4703" y="798973"/>
            <a:ext cx="802005" cy="503578"/>
          </a:xfrm>
        </p:spPr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396319" y="3528542"/>
            <a:ext cx="5618515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3753938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Straight Connector 32"/>
          <p:cNvCxnSpPr/>
          <p:nvPr/>
        </p:nvCxnSpPr>
        <p:spPr>
          <a:xfrm>
            <a:off x="1443491" y="1847088"/>
            <a:ext cx="657134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713673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18028" y="798974"/>
            <a:ext cx="1103027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3491" y="798974"/>
            <a:ext cx="5301095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6918028" y="798974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799461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/3 + 1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 txBox="1">
            <a:spLocks noGrp="1"/>
          </p:cNvSpPr>
          <p:nvPr>
            <p:ph type="body" idx="1"/>
          </p:nvPr>
        </p:nvSpPr>
        <p:spPr>
          <a:xfrm>
            <a:off x="353891" y="1227600"/>
            <a:ext cx="8391600" cy="630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ts val="1280"/>
              <a:buFont typeface="Noto Sans Symbols"/>
              <a:buNone/>
              <a:defRPr sz="1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0975" marR="0" lvl="1" indent="-127000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850"/>
              <a:buFont typeface="Noto Sans Symbols"/>
              <a:buChar char="●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61950" marR="0" lvl="2" indent="-107950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42925" marR="0" lvl="3" indent="-111125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65100" algn="l" rtl="0">
              <a:spcBef>
                <a:spcPts val="0"/>
              </a:spcBef>
              <a:spcAft>
                <a:spcPts val="360"/>
              </a:spcAft>
              <a:buClr>
                <a:srgbClr val="4D4F53"/>
              </a:buClr>
              <a:buSzPts val="1000"/>
              <a:buFont typeface="Calibri"/>
              <a:buChar char="—"/>
              <a:defRPr sz="1000" b="0" i="0" u="none" strike="noStrike" cap="none">
                <a:solidFill>
                  <a:srgbClr val="4D4F5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" name="Shape 117"/>
          <p:cNvSpPr txBox="1">
            <a:spLocks noGrp="1"/>
          </p:cNvSpPr>
          <p:nvPr>
            <p:ph type="body" idx="2"/>
          </p:nvPr>
        </p:nvSpPr>
        <p:spPr>
          <a:xfrm>
            <a:off x="353890" y="6369051"/>
            <a:ext cx="8391600" cy="2889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560"/>
              <a:buFont typeface="Noto Sans Symbols"/>
              <a:buNone/>
              <a:defRPr sz="7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0975" marR="0" lvl="1" indent="-127000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850"/>
              <a:buFont typeface="Noto Sans Symbols"/>
              <a:buChar char="●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61950" marR="0" lvl="2" indent="-107950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42925" marR="0" lvl="3" indent="-111125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65100" algn="l" rtl="0">
              <a:spcBef>
                <a:spcPts val="0"/>
              </a:spcBef>
              <a:spcAft>
                <a:spcPts val="360"/>
              </a:spcAft>
              <a:buClr>
                <a:srgbClr val="4D4F53"/>
              </a:buClr>
              <a:buSzPts val="1000"/>
              <a:buFont typeface="Calibri"/>
              <a:buChar char="—"/>
              <a:defRPr sz="1000" b="0" i="0" u="none" strike="noStrike" cap="none">
                <a:solidFill>
                  <a:srgbClr val="4D4F5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" name="Shape 118"/>
          <p:cNvSpPr txBox="1">
            <a:spLocks noGrp="1"/>
          </p:cNvSpPr>
          <p:nvPr>
            <p:ph type="body" idx="3"/>
          </p:nvPr>
        </p:nvSpPr>
        <p:spPr>
          <a:xfrm>
            <a:off x="353890" y="2219325"/>
            <a:ext cx="5532560" cy="41499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ts val="800"/>
              <a:buFont typeface="Noto Sans Symbols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0975" marR="0" lvl="1" indent="-127000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850"/>
              <a:buFont typeface="Noto Sans Symbols"/>
              <a:buChar char="●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61950" marR="0" lvl="2" indent="-107950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42925" marR="0" lvl="3" indent="-111125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65100" algn="l" rtl="0">
              <a:spcBef>
                <a:spcPts val="0"/>
              </a:spcBef>
              <a:spcAft>
                <a:spcPts val="360"/>
              </a:spcAft>
              <a:buClr>
                <a:srgbClr val="4D4F53"/>
              </a:buClr>
              <a:buSzPts val="1000"/>
              <a:buFont typeface="Calibri"/>
              <a:buChar char="—"/>
              <a:defRPr sz="1000" b="0" i="0" u="none" strike="noStrike" cap="none">
                <a:solidFill>
                  <a:srgbClr val="4D4F5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9" name="Shape 119"/>
          <p:cNvSpPr txBox="1">
            <a:spLocks noGrp="1"/>
          </p:cNvSpPr>
          <p:nvPr>
            <p:ph type="body" idx="4"/>
          </p:nvPr>
        </p:nvSpPr>
        <p:spPr>
          <a:xfrm>
            <a:off x="6067090" y="1857600"/>
            <a:ext cx="2678400" cy="360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ts val="880"/>
              <a:buFont typeface="Noto Sans Symbols"/>
              <a:buNone/>
              <a:defRPr sz="1100" b="1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0975" marR="0" lvl="1" indent="-127000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850"/>
              <a:buFont typeface="Noto Sans Symbols"/>
              <a:buChar char="●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61950" marR="0" lvl="2" indent="-107950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42925" marR="0" lvl="3" indent="-111125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65100" algn="l" rtl="0">
              <a:spcBef>
                <a:spcPts val="0"/>
              </a:spcBef>
              <a:spcAft>
                <a:spcPts val="360"/>
              </a:spcAft>
              <a:buClr>
                <a:srgbClr val="4D4F53"/>
              </a:buClr>
              <a:buSzPts val="1000"/>
              <a:buFont typeface="Calibri"/>
              <a:buChar char="—"/>
              <a:defRPr sz="1000" b="0" i="0" u="none" strike="noStrike" cap="none">
                <a:solidFill>
                  <a:srgbClr val="4D4F5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0" name="Shape 120"/>
          <p:cNvSpPr txBox="1">
            <a:spLocks noGrp="1"/>
          </p:cNvSpPr>
          <p:nvPr>
            <p:ph type="body" idx="5"/>
          </p:nvPr>
        </p:nvSpPr>
        <p:spPr>
          <a:xfrm>
            <a:off x="6067090" y="2219325"/>
            <a:ext cx="2678400" cy="41499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ts val="800"/>
              <a:buFont typeface="Noto Sans Symbols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0975" marR="0" lvl="1" indent="-127000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850"/>
              <a:buFont typeface="Noto Sans Symbols"/>
              <a:buChar char="●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61950" marR="0" lvl="2" indent="-107950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42925" marR="0" lvl="3" indent="-111125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65100" algn="l" rtl="0">
              <a:spcBef>
                <a:spcPts val="0"/>
              </a:spcBef>
              <a:spcAft>
                <a:spcPts val="360"/>
              </a:spcAft>
              <a:buClr>
                <a:srgbClr val="4D4F53"/>
              </a:buClr>
              <a:buSzPts val="1000"/>
              <a:buFont typeface="Calibri"/>
              <a:buChar char="—"/>
              <a:defRPr sz="1000" b="0" i="0" u="none" strike="noStrike" cap="none">
                <a:solidFill>
                  <a:srgbClr val="4D4F5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1" name="Shape 121"/>
          <p:cNvSpPr txBox="1">
            <a:spLocks noGrp="1"/>
          </p:cNvSpPr>
          <p:nvPr>
            <p:ph type="body" idx="6"/>
          </p:nvPr>
        </p:nvSpPr>
        <p:spPr>
          <a:xfrm>
            <a:off x="353890" y="1857600"/>
            <a:ext cx="5532560" cy="360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ts val="880"/>
              <a:buFont typeface="Noto Sans Symbols"/>
              <a:buNone/>
              <a:defRPr sz="1100" b="1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0975" marR="0" lvl="1" indent="-127000" algn="l" rtl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ts val="850"/>
              <a:buFont typeface="Noto Sans Symbols"/>
              <a:buChar char="●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61950" marR="0" lvl="2" indent="-107950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42925" marR="0" lvl="3" indent="-111125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200"/>
              <a:buFont typeface="Helvetica Neue"/>
              <a:buChar char="—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65100" algn="l" rtl="0">
              <a:spcBef>
                <a:spcPts val="0"/>
              </a:spcBef>
              <a:spcAft>
                <a:spcPts val="360"/>
              </a:spcAft>
              <a:buClr>
                <a:srgbClr val="4D4F53"/>
              </a:buClr>
              <a:buSzPts val="1000"/>
              <a:buFont typeface="Calibri"/>
              <a:buChar char="—"/>
              <a:defRPr sz="1000" b="0" i="0" u="none" strike="noStrike" cap="none">
                <a:solidFill>
                  <a:srgbClr val="4D4F5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2" name="Shape 122"/>
          <p:cNvSpPr txBox="1">
            <a:spLocks noGrp="1"/>
          </p:cNvSpPr>
          <p:nvPr>
            <p:ph type="title"/>
          </p:nvPr>
        </p:nvSpPr>
        <p:spPr>
          <a:xfrm>
            <a:off x="352425" y="228600"/>
            <a:ext cx="6390438" cy="948266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600"/>
              <a:buFont typeface="Arial"/>
              <a:buNone/>
              <a:defRPr sz="26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SzPts val="1400"/>
              <a:buNone/>
              <a:defRPr sz="1800"/>
            </a:lvl2pPr>
            <a:lvl3pPr lvl="2" indent="0">
              <a:spcBef>
                <a:spcPts val="0"/>
              </a:spcBef>
              <a:buSzPts val="1400"/>
              <a:buNone/>
              <a:defRPr sz="1800"/>
            </a:lvl3pPr>
            <a:lvl4pPr lvl="3" indent="0">
              <a:spcBef>
                <a:spcPts val="0"/>
              </a:spcBef>
              <a:buSzPts val="1400"/>
              <a:buNone/>
              <a:defRPr sz="1800"/>
            </a:lvl4pPr>
            <a:lvl5pPr lvl="4" indent="0">
              <a:spcBef>
                <a:spcPts val="0"/>
              </a:spcBef>
              <a:buSzPts val="1400"/>
              <a:buNone/>
              <a:defRPr sz="1800"/>
            </a:lvl5pPr>
            <a:lvl6pPr lvl="5" indent="0">
              <a:spcBef>
                <a:spcPts val="0"/>
              </a:spcBef>
              <a:buSzPts val="1400"/>
              <a:buNone/>
              <a:defRPr sz="1800"/>
            </a:lvl6pPr>
            <a:lvl7pPr lvl="6" indent="0">
              <a:spcBef>
                <a:spcPts val="0"/>
              </a:spcBef>
              <a:buSzPts val="1400"/>
              <a:buNone/>
              <a:defRPr sz="1800"/>
            </a:lvl7pPr>
            <a:lvl8pPr lvl="7" indent="0">
              <a:spcBef>
                <a:spcPts val="0"/>
              </a:spcBef>
              <a:buSzPts val="1400"/>
              <a:buNone/>
              <a:defRPr sz="1800"/>
            </a:lvl8pPr>
            <a:lvl9pPr lvl="8" indent="0">
              <a:spcBef>
                <a:spcPts val="0"/>
              </a:spcBef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865687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43491" y="1847088"/>
            <a:ext cx="657134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540724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491" y="1756130"/>
            <a:ext cx="5617002" cy="1887950"/>
          </a:xfrm>
        </p:spPr>
        <p:txBody>
          <a:bodyPr anchor="b">
            <a:normAutofit/>
          </a:bodyPr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3492" y="3806196"/>
            <a:ext cx="5617002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43491" y="3804985"/>
            <a:ext cx="561700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007690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491" y="804890"/>
            <a:ext cx="6571343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3490" y="2013936"/>
            <a:ext cx="3125871" cy="3437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89182" y="2013936"/>
            <a:ext cx="3125652" cy="3437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43491" y="1847088"/>
            <a:ext cx="657134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17426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/>
          <p:cNvCxnSpPr/>
          <p:nvPr/>
        </p:nvCxnSpPr>
        <p:spPr>
          <a:xfrm>
            <a:off x="1443491" y="1847088"/>
            <a:ext cx="657134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491" y="804164"/>
            <a:ext cx="6571344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3491" y="2019550"/>
            <a:ext cx="3125766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3491" y="2824270"/>
            <a:ext cx="3125766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89182" y="2023004"/>
            <a:ext cx="31256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89182" y="2821491"/>
            <a:ext cx="31256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175416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1"/>
          <p:cNvCxnSpPr/>
          <p:nvPr/>
        </p:nvCxnSpPr>
        <p:spPr>
          <a:xfrm>
            <a:off x="1443491" y="1847088"/>
            <a:ext cx="6571343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5463150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053947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9042" y="798973"/>
            <a:ext cx="2425950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6656" y="798974"/>
            <a:ext cx="3828178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39042" y="3205492"/>
            <a:ext cx="2427369" cy="2248181"/>
          </a:xfrm>
        </p:spPr>
        <p:txBody>
          <a:bodyPr>
            <a:normAutofit/>
          </a:bodyPr>
          <a:lstStyle>
            <a:lvl1pPr marL="0" indent="0" algn="l">
              <a:buNone/>
              <a:defRPr sz="16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1748" y="3205491"/>
            <a:ext cx="242327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736504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4996501" y="482171"/>
            <a:ext cx="3511387" cy="5149101"/>
            <a:chOff x="6852919" y="583365"/>
            <a:chExt cx="4681849" cy="5181928"/>
          </a:xfrm>
        </p:grpSpPr>
        <p:sp>
          <p:nvSpPr>
            <p:cNvPr id="14" name="Rectangle 13"/>
            <p:cNvSpPr/>
            <p:nvPr/>
          </p:nvSpPr>
          <p:spPr>
            <a:xfrm>
              <a:off x="6852919" y="583365"/>
              <a:ext cx="4681849" cy="5181928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7273787" y="915806"/>
              <a:ext cx="3844017" cy="4507918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148" y="1129513"/>
            <a:ext cx="3244935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640128" y="1122543"/>
            <a:ext cx="2234998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3492" y="3145992"/>
            <a:ext cx="3240286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36664" y="5469857"/>
            <a:ext cx="3252420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smtClean="0"/>
              <a:pPr/>
              <a:t>4/2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37530" y="318641"/>
            <a:ext cx="3251553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1281" y="3143605"/>
            <a:ext cx="3242014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675219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015734"/>
            <a:ext cx="9144000" cy="407952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t="1538" r="12500" b="-1538"/>
          <a:stretch/>
        </p:blipFill>
        <p:spPr>
          <a:xfrm>
            <a:off x="-1" y="6095253"/>
            <a:ext cx="9144001" cy="774727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0" y="6101127"/>
            <a:ext cx="9144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43491" y="804520"/>
            <a:ext cx="6571343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3491" y="2015733"/>
            <a:ext cx="6571343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6542" y="330370"/>
            <a:ext cx="2368292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4/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43491" y="329308"/>
            <a:ext cx="4034004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7725" y="798973"/>
            <a:ext cx="795746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EACFE25-F2FA-443B-876D-C68D20CC5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63851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4"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CF555E6-C654-4D71-AD3D-30D1C9E07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98223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6858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6858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6858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6858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6858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A6DF277-FAD8-4D78-828A-4AF62C7F17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44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9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7BD4D51A-C1EA-4534-B9CD-4E35AA7C7B67}"/>
              </a:ext>
            </a:extLst>
          </p:cNvPr>
          <p:cNvSpPr/>
          <p:nvPr/>
        </p:nvSpPr>
        <p:spPr>
          <a:xfrm>
            <a:off x="-554788" y="-64431"/>
            <a:ext cx="8735627" cy="701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TH MARION STREET NEIGHBOR CHEC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89A517C-5355-4855-8604-D5480E58BE92}"/>
              </a:ext>
            </a:extLst>
          </p:cNvPr>
          <p:cNvSpPr/>
          <p:nvPr/>
        </p:nvSpPr>
        <p:spPr>
          <a:xfrm>
            <a:off x="405557" y="597569"/>
            <a:ext cx="6339052" cy="14452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y Neighbors! </a:t>
            </a: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w of us on the block want to help keep our neighbors stay safe and cared for during the COVID-19 spread.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ill in the below and place it under your door mat or in your mail box by the end of tomorrow (Sunday, March 15</a:t>
            </a:r>
            <a:r>
              <a:rPr lang="en-US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0).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e’ll take it from there!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F9B495-E9EB-4658-AD88-9D9FE446551B}"/>
              </a:ext>
            </a:extLst>
          </p:cNvPr>
          <p:cNvSpPr/>
          <p:nvPr/>
        </p:nvSpPr>
        <p:spPr>
          <a:xfrm>
            <a:off x="796005" y="2271928"/>
            <a:ext cx="7551989" cy="3480802"/>
          </a:xfrm>
          <a:prstGeom prst="rect">
            <a:avLst/>
          </a:prstGeom>
          <a:solidFill>
            <a:schemeClr val="bg1">
              <a:lumMod val="75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check all that apply:</a:t>
            </a: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I am all set and don’t need anything!</a:t>
            </a: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</a:t>
            </a:r>
            <a:r>
              <a:rPr lang="en-US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need assistance with the following:</a:t>
            </a:r>
          </a:p>
          <a:p>
            <a:endParaRPr lang="en-US" sz="1400" u="sng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		Food Delivery 		Water (gallons)		 Hand Soap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		Medicine Pickup		Water (bottles)		 Hand Sanitizer 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		Paper Towels		Cleaning Products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		Toilet Paper 		Toiletries (please list: _________________) </a:t>
            </a: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Please list anything else you need at this time:</a:t>
            </a:r>
          </a:p>
          <a:p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_______________________________________________________________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_______________________________________________________________			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3F2F9F-90A6-4FFE-915C-AD766125A58C}"/>
              </a:ext>
            </a:extLst>
          </p:cNvPr>
          <p:cNvSpPr/>
          <p:nvPr/>
        </p:nvSpPr>
        <p:spPr>
          <a:xfrm>
            <a:off x="1654406" y="2796612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6D4088-C795-47A8-8FEE-2E105E50F000}"/>
              </a:ext>
            </a:extLst>
          </p:cNvPr>
          <p:cNvSpPr/>
          <p:nvPr/>
        </p:nvSpPr>
        <p:spPr>
          <a:xfrm>
            <a:off x="5355521" y="3640012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B9FA685-B115-4D2C-A341-9086BA29DB51}"/>
              </a:ext>
            </a:extLst>
          </p:cNvPr>
          <p:cNvSpPr/>
          <p:nvPr/>
        </p:nvSpPr>
        <p:spPr>
          <a:xfrm>
            <a:off x="1645997" y="4274892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E35565B-112F-46B7-951F-1E80CB5041F7}"/>
              </a:ext>
            </a:extLst>
          </p:cNvPr>
          <p:cNvSpPr/>
          <p:nvPr/>
        </p:nvSpPr>
        <p:spPr>
          <a:xfrm>
            <a:off x="1645997" y="3863412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7D6A5E-8453-47A1-A970-0A5BC03505DE}"/>
              </a:ext>
            </a:extLst>
          </p:cNvPr>
          <p:cNvSpPr/>
          <p:nvPr/>
        </p:nvSpPr>
        <p:spPr>
          <a:xfrm>
            <a:off x="1645997" y="4066612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2D2AA8C-17C3-4C65-974F-FF545BB52C81}"/>
              </a:ext>
            </a:extLst>
          </p:cNvPr>
          <p:cNvSpPr/>
          <p:nvPr/>
        </p:nvSpPr>
        <p:spPr>
          <a:xfrm>
            <a:off x="1645997" y="3637376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FB1E81-614F-4831-85C8-B2EEAE749C6A}"/>
              </a:ext>
            </a:extLst>
          </p:cNvPr>
          <p:cNvSpPr/>
          <p:nvPr/>
        </p:nvSpPr>
        <p:spPr>
          <a:xfrm>
            <a:off x="3478563" y="4278736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125A4AE-9B35-49DA-A0C2-320BF518B477}"/>
              </a:ext>
            </a:extLst>
          </p:cNvPr>
          <p:cNvSpPr/>
          <p:nvPr/>
        </p:nvSpPr>
        <p:spPr>
          <a:xfrm>
            <a:off x="3478563" y="3867256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5A5710D-7B02-4031-B756-4A3073A5F5FF}"/>
              </a:ext>
            </a:extLst>
          </p:cNvPr>
          <p:cNvSpPr/>
          <p:nvPr/>
        </p:nvSpPr>
        <p:spPr>
          <a:xfrm>
            <a:off x="3478563" y="4070456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8422337-CD5E-414C-B118-0C56EB48B5D4}"/>
              </a:ext>
            </a:extLst>
          </p:cNvPr>
          <p:cNvSpPr/>
          <p:nvPr/>
        </p:nvSpPr>
        <p:spPr>
          <a:xfrm>
            <a:off x="5355521" y="3845728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202B62A-00DB-42E3-8607-96725CCEE13D}"/>
              </a:ext>
            </a:extLst>
          </p:cNvPr>
          <p:cNvSpPr/>
          <p:nvPr/>
        </p:nvSpPr>
        <p:spPr>
          <a:xfrm>
            <a:off x="3478563" y="3658976"/>
            <a:ext cx="96520" cy="10668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73F6AE2-7167-45E3-83BF-EC775141569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</a:extLst>
          </a:blip>
          <a:srcRect l="31534" b="347"/>
          <a:stretch/>
        </p:blipFill>
        <p:spPr>
          <a:xfrm>
            <a:off x="6842152" y="126687"/>
            <a:ext cx="2148461" cy="1739984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96332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E65B1B92CBC3408F2BD1BC1EC1897F" ma:contentTypeVersion="2" ma:contentTypeDescription="Create a new document." ma:contentTypeScope="" ma:versionID="b90190888072f881f64d9192811b2a98">
  <xsd:schema xmlns:xsd="http://www.w3.org/2001/XMLSchema" xmlns:xs="http://www.w3.org/2001/XMLSchema" xmlns:p="http://schemas.microsoft.com/office/2006/metadata/properties" xmlns:ns2="533b1cd0-0a3a-40c2-a8f6-e27955ab7c51" targetNamespace="http://schemas.microsoft.com/office/2006/metadata/properties" ma:root="true" ma:fieldsID="1a9117d61cac7eb67c55bd3a71c07269" ns2:_="">
    <xsd:import namespace="533b1cd0-0a3a-40c2-a8f6-e27955ab7c5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3b1cd0-0a3a-40c2-a8f6-e27955ab7c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6CE26F3-AFA5-48EF-9741-205D276EC5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3b1cd0-0a3a-40c2-a8f6-e27955ab7c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DD9766-BDED-4813-98F1-90D3E47A5B7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70F35FA-74FB-4B1B-9D8F-FE4267EF489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33b1cd0-0a3a-40c2-a8f6-e27955ab7c5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0</TotalTime>
  <Words>168</Words>
  <Application>Microsoft Macintosh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Gill Sans MT</vt:lpstr>
      <vt:lpstr>Helvetica Neue</vt:lpstr>
      <vt:lpstr>Noto Sans Symbols</vt:lpstr>
      <vt:lpstr>Gallery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modified xsi:type="dcterms:W3CDTF">2020-04-02T20:4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E65B1B92CBC3408F2BD1BC1EC1897F</vt:lpwstr>
  </property>
</Properties>
</file>